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3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4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5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6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7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8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9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223" r:id="rId2"/>
    <p:sldMasterId id="2147484236" r:id="rId3"/>
    <p:sldMasterId id="2147484248" r:id="rId4"/>
    <p:sldMasterId id="2147484260" r:id="rId5"/>
    <p:sldMasterId id="2147484273" r:id="rId6"/>
    <p:sldMasterId id="2147484285" r:id="rId7"/>
    <p:sldMasterId id="2147484297" r:id="rId8"/>
    <p:sldMasterId id="2147484309" r:id="rId9"/>
    <p:sldMasterId id="2147484321" r:id="rId10"/>
    <p:sldMasterId id="2147484333" r:id="rId11"/>
    <p:sldMasterId id="2147484345" r:id="rId12"/>
    <p:sldMasterId id="2147484357" r:id="rId13"/>
    <p:sldMasterId id="2147484370" r:id="rId14"/>
    <p:sldMasterId id="2147484382" r:id="rId15"/>
    <p:sldMasterId id="2147484394" r:id="rId16"/>
    <p:sldMasterId id="2147484406" r:id="rId17"/>
    <p:sldMasterId id="2147484418" r:id="rId18"/>
    <p:sldMasterId id="2147484430" r:id="rId19"/>
    <p:sldMasterId id="2147484442" r:id="rId20"/>
  </p:sldMasterIdLst>
  <p:notesMasterIdLst>
    <p:notesMasterId r:id="rId37"/>
  </p:notesMasterIdLst>
  <p:sldIdLst>
    <p:sldId id="340" r:id="rId21"/>
    <p:sldId id="352" r:id="rId22"/>
    <p:sldId id="363" r:id="rId23"/>
    <p:sldId id="364" r:id="rId24"/>
    <p:sldId id="355" r:id="rId25"/>
    <p:sldId id="354" r:id="rId26"/>
    <p:sldId id="357" r:id="rId27"/>
    <p:sldId id="358" r:id="rId28"/>
    <p:sldId id="360" r:id="rId29"/>
    <p:sldId id="362" r:id="rId30"/>
    <p:sldId id="327" r:id="rId31"/>
    <p:sldId id="356" r:id="rId32"/>
    <p:sldId id="361" r:id="rId33"/>
    <p:sldId id="359" r:id="rId34"/>
    <p:sldId id="365" r:id="rId35"/>
    <p:sldId id="339" r:id="rId36"/>
  </p:sldIdLst>
  <p:sldSz cx="9144000" cy="6858000" type="screen4x3"/>
  <p:notesSz cx="6858000" cy="9144000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E" initials="v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D3F1"/>
    <a:srgbClr val="FF6600"/>
    <a:srgbClr val="FF99CC"/>
    <a:srgbClr val="B6DF89"/>
    <a:srgbClr val="A6A6A6"/>
    <a:srgbClr val="EEEEEE"/>
    <a:srgbClr val="DDDDDD"/>
    <a:srgbClr val="D3ECF2"/>
    <a:srgbClr val="C4E59F"/>
    <a:srgbClr val="FFE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96092" autoAdjust="0"/>
  </p:normalViewPr>
  <p:slideViewPr>
    <p:cSldViewPr>
      <p:cViewPr>
        <p:scale>
          <a:sx n="100" d="100"/>
          <a:sy n="100" d="100"/>
        </p:scale>
        <p:origin x="-1458" y="-306"/>
      </p:cViewPr>
      <p:guideLst>
        <p:guide orient="horz" pos="2160"/>
        <p:guide orient="horz" pos="3748"/>
        <p:guide orient="horz" pos="935"/>
        <p:guide pos="2880"/>
        <p:guide pos="113"/>
        <p:guide pos="5647"/>
      </p:guideLst>
    </p:cSldViewPr>
  </p:slideViewPr>
  <p:outlineViewPr>
    <p:cViewPr>
      <p:scale>
        <a:sx n="33" d="100"/>
        <a:sy n="33" d="100"/>
      </p:scale>
      <p:origin x="0" y="21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C512CBB-8246-42B3-BA18-F6EB28FE5AB4}" type="slidenum">
              <a:rPr lang="bg-BG"/>
              <a:pPr>
                <a:defRPr/>
              </a:pPr>
              <a:t>‹#›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753138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88EE0F2-690A-4639-828B-706414137A55}" type="slidenum">
              <a:rPr lang="bg-BG" smtClean="0"/>
              <a:pPr eaLnBrk="1" hangingPunct="1"/>
              <a:t>5</a:t>
            </a:fld>
            <a:endParaRPr lang="bg-BG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>
                <a:solidFill>
                  <a:prstClr val="black"/>
                </a:solidFill>
              </a:rPr>
              <a:pPr eaLnBrk="1" hangingPunct="1"/>
              <a:t>6</a:t>
            </a:fld>
            <a:endParaRPr lang="bg-BG" dirty="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/>
              <a:pPr eaLnBrk="1" hangingPunct="1"/>
              <a:t>7</a:t>
            </a:fld>
            <a:endParaRPr lang="bg-BG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C5EA3F-9F32-442E-B59A-0EF19FADF969}" type="slidenum">
              <a:rPr lang="bg-BG" smtClean="0"/>
              <a:pPr eaLnBrk="1" hangingPunct="1"/>
              <a:t>8</a:t>
            </a:fld>
            <a:endParaRPr lang="bg-BG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69967767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6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8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69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5753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224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98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00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230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06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68986726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3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858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52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435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3264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002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49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243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552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882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50339269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61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0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43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6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75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96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91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422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4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2271640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151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94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3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694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200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472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122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31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33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8919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951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7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47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839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39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200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5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205199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9121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60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35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6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0290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10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54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91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20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709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10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265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494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5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5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612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34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64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69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260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237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7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5048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5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288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49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7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245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355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19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02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5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36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0328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2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776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627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6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30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56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47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454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3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923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021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7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9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77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42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80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61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178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935271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10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48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4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76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1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71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18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00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157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475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94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832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80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380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7160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804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19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870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10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692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798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435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2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6811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210749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30456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41143926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2019487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96477698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939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59484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61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3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15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5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92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13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16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4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2365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18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67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51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8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54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3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03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882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8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18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4222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1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9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43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9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37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3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18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1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39" r:id="rId9"/>
    <p:sldLayoutId id="2147484440" r:id="rId10"/>
    <p:sldLayoutId id="214748444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59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2.10.2015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3556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2.10.2015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029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8.xml"/><Relationship Id="rId1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4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00808"/>
            <a:ext cx="9144000" cy="1368152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/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ЕРАТИВНА ПРОГРАМА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“ИНОВАЦИИ И КОНКУРЕНТОСПОСОБНОСТ“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428728" y="5143512"/>
            <a:ext cx="6798281" cy="1512000"/>
            <a:chOff x="1428728" y="5143512"/>
            <a:chExt cx="6798281" cy="1512000"/>
          </a:xfrm>
        </p:grpSpPr>
        <p:pic>
          <p:nvPicPr>
            <p:cNvPr id="7" name="Picture 6" descr="OPIC1BG_COLOR_DOWN.fw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15074" y="5143512"/>
              <a:ext cx="2011935" cy="1512000"/>
            </a:xfrm>
            <a:prstGeom prst="rect">
              <a:avLst/>
            </a:prstGeom>
          </p:spPr>
        </p:pic>
        <p:pic>
          <p:nvPicPr>
            <p:cNvPr id="8" name="Picture 7" descr="textEU+LOGO.fw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28728" y="5143512"/>
              <a:ext cx="1426950" cy="1512000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>
          <a:xfrm>
            <a:off x="1187623" y="3598039"/>
            <a:ext cx="703938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</a:p>
          <a:p>
            <a:pPr algn="ctr"/>
            <a:endParaRPr lang="bg-BG" sz="28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1</a:t>
            </a:r>
            <a:r>
              <a:rPr lang="en-US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5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октомври 2015 г.</a:t>
            </a:r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8878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188640"/>
            <a:ext cx="9144000" cy="10081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</a:t>
            </a:r>
            <a:r>
              <a:rPr lang="ru-RU" sz="24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4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 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дкреп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чрез </a:t>
            </a:r>
            <a:r>
              <a:rPr lang="ru-RU" sz="2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</a:t>
            </a:r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инструменти</a:t>
            </a:r>
            <a:endParaRPr lang="bg-BG" sz="20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5552" y="1556792"/>
            <a:ext cx="3396469" cy="5040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о използване на финансови инструменти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75445" y="2537653"/>
            <a:ext cx="3405977" cy="97797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ялови </a:t>
            </a: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/или </a:t>
            </a:r>
            <a:r>
              <a:rPr lang="bg-BG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вази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дялови </a:t>
            </a: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вестиции за предприятия с висок потенциал за растеж 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а развитие на МСП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13315" y="1556792"/>
            <a:ext cx="2186533" cy="5040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ru-RU" sz="14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139608" y="2420888"/>
            <a:ext cx="2160240" cy="129614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във фаза на растеж или зряла фаза от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вое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развитие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ходя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МСП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775590" y="1556792"/>
            <a:ext cx="2188898" cy="5040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 </a:t>
            </a:r>
            <a:endParaRPr lang="ru-RU" sz="14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84321" y="2420887"/>
            <a:ext cx="2180167" cy="3154005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дитни и финансови институции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икрофинансиращи институции и други лица с право на дейност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мениджъри и др. подобни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55576" y="6021289"/>
            <a:ext cx="8856984" cy="56237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endParaRPr lang="bg-BG" sz="1400" b="1" i="1" dirty="0" smtClean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  <a:p>
            <a:pPr lvl="0" algn="ctr">
              <a:spcBef>
                <a:spcPts val="600"/>
              </a:spcBef>
              <a:defRPr/>
            </a:pP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4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евро за дяловите инвестиции за МСП с потенциал за растеж и 15 млн. евро за инструмента за </a:t>
            </a:r>
            <a:r>
              <a:rPr lang="bg-BG" sz="1400" b="1" i="1" dirty="0" err="1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икрофинансиране</a:t>
            </a:r>
            <a:endParaRPr lang="bg-BG" sz="1400" b="1" i="1" dirty="0" smtClean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  <a:p>
            <a:pPr lvl="0" algn="ctr">
              <a:spcBef>
                <a:spcPts val="600"/>
              </a:spcBef>
              <a:defRPr/>
            </a:pPr>
            <a:endParaRPr lang="bg-BG" sz="1400" b="1" i="1" dirty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5445" y="4494773"/>
            <a:ext cx="3405977" cy="10801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и 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и за </a:t>
            </a:r>
            <a:r>
              <a:rPr lang="bg-BG" sz="1200" i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микрофинансиране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струмент за микрокредитиране - портфейл от заеми с поделяне на риска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98854" y="4494774"/>
            <a:ext cx="2041748" cy="10801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икро предприятия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916199" y="3882249"/>
            <a:ext cx="3154005" cy="231284"/>
          </a:xfrm>
          <a:prstGeom prst="triangle">
            <a:avLst>
              <a:gd name="adj" fmla="val 50000"/>
            </a:avLst>
          </a:prstGeom>
          <a:solidFill>
            <a:srgbClr val="7575FA"/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Up Arrow 27"/>
          <p:cNvSpPr/>
          <p:nvPr/>
        </p:nvSpPr>
        <p:spPr>
          <a:xfrm rot="5400000">
            <a:off x="3742382" y="4780209"/>
            <a:ext cx="288032" cy="609951"/>
          </a:xfrm>
          <a:prstGeom prst="upArrow">
            <a:avLst>
              <a:gd name="adj1" fmla="val 50000"/>
              <a:gd name="adj2" fmla="val 40975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dirty="0"/>
          </a:p>
        </p:txBody>
      </p:sp>
      <p:sp>
        <p:nvSpPr>
          <p:cNvPr id="30" name="Up Arrow 29"/>
          <p:cNvSpPr/>
          <p:nvPr/>
        </p:nvSpPr>
        <p:spPr>
          <a:xfrm rot="5400000">
            <a:off x="3716459" y="2763839"/>
            <a:ext cx="316727" cy="525602"/>
          </a:xfrm>
          <a:prstGeom prst="upArrow">
            <a:avLst>
              <a:gd name="adj1" fmla="val 50000"/>
              <a:gd name="adj2" fmla="val 40975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2024403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627784" y="6451168"/>
            <a:ext cx="4147806" cy="3348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xfrm>
            <a:off x="0" y="188640"/>
            <a:ext cx="9144000" cy="10081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3.1 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Енергийни технологии и енергийна ефективност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</a:p>
        </p:txBody>
      </p:sp>
      <p:sp>
        <p:nvSpPr>
          <p:cNvPr id="5" name="Rectangle 4"/>
          <p:cNvSpPr/>
          <p:nvPr/>
        </p:nvSpPr>
        <p:spPr>
          <a:xfrm>
            <a:off x="261504" y="1584457"/>
            <a:ext cx="2869827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6" name="Rectangle 5"/>
          <p:cNvSpPr/>
          <p:nvPr/>
        </p:nvSpPr>
        <p:spPr>
          <a:xfrm>
            <a:off x="246696" y="2204864"/>
            <a:ext cx="2869827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повишаване на енергийната ефективност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–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вежд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бследвания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ЕЕ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следващ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илаг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поръчанит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мерки;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ституционална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устойчиво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нергийно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е -    (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АУЕР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чество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личествот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услиг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80656" y="1592816"/>
            <a:ext cx="273630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</a:p>
        </p:txBody>
      </p:sp>
      <p:sp>
        <p:nvSpPr>
          <p:cNvPr id="8" name="Rectangle 7"/>
          <p:cNvSpPr/>
          <p:nvPr/>
        </p:nvSpPr>
        <p:spPr>
          <a:xfrm>
            <a:off x="6444208" y="1592816"/>
            <a:ext cx="252028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80656" y="2204864"/>
            <a:ext cx="2736304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нергийна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ефективност на подкрепените предприятия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маляване на производствените разходи, повишаване на екологосъобразността и увеличаване на конкурентоспособността 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28473" y="2204864"/>
            <a:ext cx="2536015" cy="2664296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 предприяти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я, вкл. големи,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 територията на страната 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УЕР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61504" y="5085184"/>
            <a:ext cx="8702983" cy="70271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</a:t>
            </a:r>
            <a:r>
              <a:rPr lang="bg-BG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репа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за предприятия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звъ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ите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търговият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услугите</a:t>
            </a:r>
            <a:endParaRPr lang="ru-RU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на баз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поръки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звърш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енерги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дит</a:t>
            </a:r>
            <a:endParaRPr lang="bg-BG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61505" y="5980988"/>
            <a:ext cx="870298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234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2627784" y="6451168"/>
            <a:ext cx="4147806" cy="3348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7760" y="1772816"/>
            <a:ext cx="3456508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о използване на финансови инструмент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9388" y="2708920"/>
            <a:ext cx="3456508" cy="1750880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 инструмент </a:t>
            </a:r>
            <a:r>
              <a:rPr lang="ru-RU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за мерки за енергийна ефективност в </a:t>
            </a:r>
            <a:r>
              <a:rPr lang="ru-RU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Гаранци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крива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загуби по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ртфейл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от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ългов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сигуряващ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он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/лизинги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ЕЕ в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b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</a:b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920505" y="1772816"/>
            <a:ext cx="2592288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ru-RU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20505" y="2707779"/>
            <a:ext cx="2520280" cy="1729574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 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МСП и </a:t>
            </a: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,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илагащи мерки за енергийна ефективност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712010" y="1783507"/>
            <a:ext cx="2232373" cy="5027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 </a:t>
            </a:r>
            <a:endParaRPr lang="ru-RU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75590" y="2756268"/>
            <a:ext cx="2232373" cy="1656184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фондовете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н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нституции и др. подобни организации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09155" y="5085184"/>
            <a:ext cx="8698808" cy="5760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за предприятия 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сички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и</a:t>
            </a:r>
            <a:endParaRPr lang="ru-RU" sz="135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66515" y="5897134"/>
            <a:ext cx="8741447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4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 bwMode="auto">
          <a:xfrm>
            <a:off x="53975" y="260350"/>
            <a:ext cx="9144000" cy="1196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3.1 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Енергийни технологии и енергийна ефективност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5958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xfrm>
            <a:off x="0" y="332656"/>
            <a:ext cx="9144000" cy="86409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3.2 “Ресурсна ефективност“ </a:t>
            </a:r>
            <a: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</a:t>
            </a: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чрез безвъзмездна помощ</a:t>
            </a:r>
            <a:endParaRPr lang="bg-BG" sz="2000" b="1" kern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9388" y="1772816"/>
            <a:ext cx="2664420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5" name="Rectangle 4"/>
          <p:cNvSpPr/>
          <p:nvPr/>
        </p:nvSpPr>
        <p:spPr>
          <a:xfrm>
            <a:off x="179388" y="2348880"/>
            <a:ext cx="2664420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пилотни и демонстрационни инициативи за повишаване ефективното използване на ресурсите в предприятия и/или  групи предприятия</a:t>
            </a:r>
          </a:p>
        </p:txBody>
      </p:sp>
      <p:sp>
        <p:nvSpPr>
          <p:cNvPr id="6" name="Rectangle 5"/>
          <p:cNvSpPr/>
          <p:nvPr/>
        </p:nvSpPr>
        <p:spPr>
          <a:xfrm>
            <a:off x="2948676" y="1772816"/>
            <a:ext cx="3534680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88224" y="1772816"/>
            <a:ext cx="2376264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8" name="Rectangle 7"/>
          <p:cNvSpPr/>
          <p:nvPr/>
        </p:nvSpPr>
        <p:spPr>
          <a:xfrm>
            <a:off x="2948676" y="2348880"/>
            <a:ext cx="3534680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информираността относно ефективното използване на ресурсите в подкрепените МСП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ефективността на производствените процеси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маляване себестойността на продукцията 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конкурентоспособността на подкрепените предприятия</a:t>
            </a:r>
          </a:p>
        </p:txBody>
      </p:sp>
      <p:sp>
        <p:nvSpPr>
          <p:cNvPr id="9" name="Rectangle 8"/>
          <p:cNvSpPr/>
          <p:nvPr/>
        </p:nvSpPr>
        <p:spPr>
          <a:xfrm>
            <a:off x="6588224" y="2348880"/>
            <a:ext cx="2376264" cy="2808312"/>
          </a:xfrm>
          <a:prstGeom prst="rect">
            <a:avLst/>
          </a:prstGeom>
          <a:solidFill>
            <a:srgbClr val="C4E59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от преработващата промишленос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0688" y="5452705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36,6 </a:t>
            </a:r>
            <a:r>
              <a:rPr lang="bg-BG" sz="14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4082214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ъзможности за подкрепа по ОПИК през 2015 г.</a:t>
            </a: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8313" y="1341438"/>
            <a:ext cx="8351837" cy="352772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180975" lvl="0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8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Right Arrow 3"/>
          <p:cNvSpPr/>
          <p:nvPr/>
        </p:nvSpPr>
        <p:spPr bwMode="auto">
          <a:xfrm>
            <a:off x="200026" y="1360976"/>
            <a:ext cx="2522765" cy="1008112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1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2973661" y="980728"/>
            <a:ext cx="5918819" cy="1794876"/>
            <a:chOff x="450025" y="-22382"/>
            <a:chExt cx="1872569" cy="1940465"/>
          </a:xfrm>
        </p:grpSpPr>
        <p:sp>
          <p:nvSpPr>
            <p:cNvPr id="6" name="Rounded Rectangle 5"/>
            <p:cNvSpPr/>
            <p:nvPr/>
          </p:nvSpPr>
          <p:spPr>
            <a:xfrm>
              <a:off x="450025" y="139323"/>
              <a:ext cx="1845305" cy="1778760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7" name="Rounded Rectangle 4"/>
            <p:cNvSpPr>
              <a:spLocks noChangeArrowheads="1"/>
            </p:cNvSpPr>
            <p:nvPr/>
          </p:nvSpPr>
          <p:spPr bwMode="auto">
            <a:xfrm>
              <a:off x="463546" y="-22382"/>
              <a:ext cx="1859048" cy="1853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дкрепа за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овации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в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едприятията</a:t>
              </a: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“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-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5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0 млн. евро; 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МСП и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голем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</a:p>
            <a:p>
              <a:pPr defTabSz="914400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100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000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1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500 000 </a:t>
              </a:r>
              <a:r>
                <a:rPr lang="ru-RU" altLang="en-US" sz="12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  <a:endParaRPr lang="ru-RU" altLang="en-US" sz="12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и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за услуги;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дикативен срок на обявяване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ктомври-ноемвр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2015 г.</a:t>
              </a:r>
            </a:p>
          </p:txBody>
        </p:sp>
      </p:grpSp>
      <p:sp>
        <p:nvSpPr>
          <p:cNvPr id="8" name="Right Arrow 7"/>
          <p:cNvSpPr/>
          <p:nvPr/>
        </p:nvSpPr>
        <p:spPr bwMode="auto">
          <a:xfrm>
            <a:off x="193675" y="3321476"/>
            <a:ext cx="2597175" cy="1115636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2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2722791" y="2060848"/>
            <a:ext cx="6169689" cy="2736304"/>
            <a:chOff x="475945" y="226155"/>
            <a:chExt cx="2001538" cy="5042153"/>
          </a:xfrm>
        </p:grpSpPr>
        <p:sp>
          <p:nvSpPr>
            <p:cNvPr id="16" name="Rounded Rectangle 15"/>
            <p:cNvSpPr/>
            <p:nvPr/>
          </p:nvSpPr>
          <p:spPr>
            <a:xfrm>
              <a:off x="557331" y="1951100"/>
              <a:ext cx="1920152" cy="3317208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/>
            <a:lstStyle/>
            <a:p>
              <a:pPr algn="ctr">
                <a:lnSpc>
                  <a:spcPct val="150000"/>
                </a:lnSpc>
              </a:pP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добряване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изводствения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4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пацитет</a:t>
              </a:r>
              <a:r>
                <a:rPr lang="ru-RU" altLang="en-US" sz="14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на </a:t>
              </a:r>
              <a:r>
                <a:rPr lang="ru-RU" altLang="en-US" sz="14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СП“</a:t>
              </a:r>
            </a:p>
            <a:p>
              <a:pPr>
                <a:lnSpc>
                  <a:spcPct val="15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150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лн. евро; </a:t>
              </a: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СП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endParaRPr lang="ru-RU" altLang="en-US" sz="12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100 000 – 1 000 000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  <a:endPara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2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  <a:endPara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2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Статус: </a:t>
              </a:r>
              <a:r>
                <a:rPr lang="ru-RU" altLang="en-US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творена за </a:t>
              </a:r>
              <a:r>
                <a:rPr lang="ru-RU" altLang="en-US" sz="12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стване</a:t>
              </a:r>
              <a:endParaRPr lang="ru-RU" altLang="en-US" sz="10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Rounded Rectangle 4"/>
            <p:cNvSpPr>
              <a:spLocks noChangeArrowheads="1"/>
            </p:cNvSpPr>
            <p:nvPr/>
          </p:nvSpPr>
          <p:spPr bwMode="auto">
            <a:xfrm>
              <a:off x="475945" y="226155"/>
              <a:ext cx="1625091" cy="1605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</a:pPr>
              <a:endParaRPr lang="ru-RU" altLang="en-US" sz="14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8" name="Right Arrow 17"/>
          <p:cNvSpPr/>
          <p:nvPr/>
        </p:nvSpPr>
        <p:spPr bwMode="auto">
          <a:xfrm>
            <a:off x="200025" y="5287936"/>
            <a:ext cx="2673375" cy="1021384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3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2973661" y="5013176"/>
            <a:ext cx="5918819" cy="1728192"/>
          </a:xfrm>
          <a:prstGeom prst="roundRect">
            <a:avLst/>
          </a:prstGeom>
          <a:solidFill>
            <a:srgbClr val="AAAAAA">
              <a:lumMod val="40000"/>
              <a:lumOff val="60000"/>
            </a:srgbClr>
          </a:solidFill>
          <a:ln>
            <a:solidFill>
              <a:srgbClr val="FFDCAA">
                <a:lumMod val="50000"/>
              </a:srgb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„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в </a:t>
            </a:r>
            <a:r>
              <a:rPr lang="ru-RU" altLang="en-US" sz="14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ятията</a:t>
            </a:r>
            <a:r>
              <a:rPr lang="ru-RU" altLang="en-US" sz="1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“</a:t>
            </a:r>
          </a:p>
          <a:p>
            <a:pPr>
              <a:lnSpc>
                <a:spcPct val="15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;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нимален и максимален размер на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5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 000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– 1 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0 000 </a:t>
            </a:r>
            <a:r>
              <a:rPr lang="ru-RU" altLang="en-US" sz="1200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200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вестиционни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;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СМР;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услуги.</a:t>
            </a:r>
            <a:endParaRPr lang="ru-RU" altLang="en-US" sz="1200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2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дикативен срок на обявяване: </a:t>
            </a:r>
            <a:r>
              <a:rPr lang="ru-RU" altLang="en-US" sz="12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кември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015 г</a:t>
            </a:r>
            <a:r>
              <a:rPr lang="ru-RU" altLang="en-US" sz="12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 marL="285750" indent="-285750">
              <a:buFontTx/>
              <a:buChar char="-"/>
            </a:pPr>
            <a:endParaRPr lang="ru-RU" altLang="en-US" sz="1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Tx/>
              <a:buChar char="-"/>
            </a:pPr>
            <a:endParaRPr lang="ru-RU" altLang="en-US" sz="14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4759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0728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Възможности за подкрепа по ОПИК през </a:t>
            </a:r>
            <a:r>
              <a:rPr lang="bg-BG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2016 </a:t>
            </a:r>
            <a:r>
              <a:rPr lang="bg-BG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г.</a:t>
            </a:r>
            <a:endParaRPr lang="bg-BG" sz="20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8313" y="1341438"/>
            <a:ext cx="8351837" cy="352772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0" indent="0">
              <a:buFontTx/>
              <a:buNone/>
              <a:defRPr/>
            </a:pPr>
            <a:endParaRPr lang="bg-BG" sz="1600" dirty="0" smtClean="0"/>
          </a:p>
          <a:p>
            <a:pPr marL="0" indent="0">
              <a:buFontTx/>
              <a:buNone/>
              <a:defRPr/>
            </a:pPr>
            <a:endParaRPr lang="bg-BG" sz="1600" dirty="0"/>
          </a:p>
          <a:p>
            <a:pPr marL="180975" lvl="0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8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Right Arrow 3"/>
          <p:cNvSpPr/>
          <p:nvPr/>
        </p:nvSpPr>
        <p:spPr bwMode="auto">
          <a:xfrm>
            <a:off x="35497" y="1196752"/>
            <a:ext cx="2448272" cy="1008112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1</a:t>
            </a:r>
            <a:endParaRPr lang="en-US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2555776" y="908721"/>
            <a:ext cx="6696745" cy="1368151"/>
            <a:chOff x="450025" y="139322"/>
            <a:chExt cx="1914801" cy="1778761"/>
          </a:xfrm>
        </p:grpSpPr>
        <p:sp>
          <p:nvSpPr>
            <p:cNvPr id="6" name="Rounded Rectangle 5"/>
            <p:cNvSpPr/>
            <p:nvPr/>
          </p:nvSpPr>
          <p:spPr>
            <a:xfrm>
              <a:off x="450025" y="139323"/>
              <a:ext cx="1845305" cy="1778760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7" name="Rounded Rectangle 4"/>
            <p:cNvSpPr>
              <a:spLocks noChangeArrowheads="1"/>
            </p:cNvSpPr>
            <p:nvPr/>
          </p:nvSpPr>
          <p:spPr bwMode="auto">
            <a:xfrm>
              <a:off x="450025" y="139322"/>
              <a:ext cx="1914801" cy="1505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endPara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 </a:t>
              </a:r>
              <a:r>
                <a:rPr lang="ru-RU" altLang="en-US" sz="11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работване</a:t>
              </a:r>
              <a:r>
                <a:rPr lang="ru-RU" altLang="en-US" sz="11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на </a:t>
              </a:r>
              <a:r>
                <a:rPr lang="ru-RU" altLang="en-US" sz="11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дуктови</a:t>
              </a:r>
              <a:r>
                <a:rPr lang="ru-RU" altLang="en-US" sz="11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и </a:t>
              </a:r>
              <a:r>
                <a:rPr lang="ru-RU" altLang="en-US" sz="11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изводствени</a:t>
              </a:r>
              <a:r>
                <a:rPr lang="ru-RU" altLang="en-US" sz="11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овации</a:t>
              </a:r>
              <a:r>
                <a:rPr lang="ru-RU" altLang="en-US" sz="11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“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на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-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35 млн. евро; 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МСП и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голем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</a:p>
            <a:p>
              <a:pPr lvl="0" defTabSz="914400"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50 000 – 1 000 000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  <a:endParaRPr lang="ru-RU" altLang="en-US" sz="11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–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за услуги;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перативн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</a:p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дикативен срок на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бявяване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екемвр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2016 г.</a:t>
              </a:r>
            </a:p>
          </p:txBody>
        </p:sp>
      </p:grpSp>
      <p:sp>
        <p:nvSpPr>
          <p:cNvPr id="8" name="Right Arrow 7"/>
          <p:cNvSpPr/>
          <p:nvPr/>
        </p:nvSpPr>
        <p:spPr bwMode="auto">
          <a:xfrm>
            <a:off x="35498" y="2648762"/>
            <a:ext cx="2448271" cy="996262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kern="0" dirty="0" smtClean="0">
              <a:solidFill>
                <a:srgbClr val="000000"/>
              </a:solidFill>
            </a:endParaRPr>
          </a:p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</a:t>
            </a: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2</a:t>
            </a:r>
            <a:endParaRPr lang="en-US" altLang="en-US" sz="1600" i="1" kern="0" dirty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2555776" y="2060849"/>
            <a:ext cx="6453693" cy="1728191"/>
            <a:chOff x="421763" y="226155"/>
            <a:chExt cx="2093673" cy="4718236"/>
          </a:xfrm>
        </p:grpSpPr>
        <p:sp>
          <p:nvSpPr>
            <p:cNvPr id="16" name="Rounded Rectangle 15"/>
            <p:cNvSpPr/>
            <p:nvPr/>
          </p:nvSpPr>
          <p:spPr>
            <a:xfrm>
              <a:off x="421763" y="947476"/>
              <a:ext cx="2093673" cy="3996915"/>
            </a:xfrm>
            <a:prstGeom prst="roundRect">
              <a:avLst/>
            </a:prstGeom>
            <a:solidFill>
              <a:srgbClr val="AAAAAA">
                <a:lumMod val="40000"/>
                <a:lumOff val="60000"/>
              </a:srgbClr>
            </a:solidFill>
            <a:ln>
              <a:solidFill>
                <a:srgbClr val="FFDCAA">
                  <a:lumMod val="50000"/>
                </a:srgb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/>
            <a:lstStyle/>
            <a:p>
              <a:pPr lvl="0" algn="ctr"/>
              <a:r>
                <a:rPr lang="ru-RU" altLang="en-US" sz="11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„</a:t>
              </a:r>
              <a:r>
                <a:rPr lang="ru-RU" altLang="en-US" sz="11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витие на </a:t>
              </a:r>
              <a:r>
                <a:rPr lang="ru-RU" altLang="en-US" sz="1100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лъстери</a:t>
              </a:r>
              <a:r>
                <a:rPr lang="ru-RU" altLang="en-US" sz="11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в </a:t>
              </a:r>
              <a:r>
                <a:rPr lang="ru-RU" altLang="en-US" sz="1100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ългария</a:t>
              </a:r>
              <a:r>
                <a:rPr lang="ru-RU" altLang="en-US" sz="11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“</a:t>
              </a:r>
              <a:endParaRPr lang="ru-RU" altLang="en-US" sz="11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lvl="0">
                <a:lnSpc>
                  <a:spcPct val="15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Бюджет на </a:t>
              </a: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роцедурата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20 млн. евро; </a:t>
              </a:r>
            </a:p>
            <a:p>
              <a:pPr lvl="0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андидати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новосъздаден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,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виващ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се и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вит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клъстер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endPara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lvl="0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Минимален и максимален размер на </a:t>
              </a: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помощта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100 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000 –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2 000 000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лв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.</a:t>
              </a:r>
            </a:p>
            <a:p>
              <a:pPr lvl="0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Допустими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b="1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b="1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вестиционн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за услуги; </a:t>
              </a:r>
              <a:r>
                <a:rPr lang="ru-RU" altLang="en-US" sz="1100" i="1" dirty="0" err="1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перативни</a:t>
              </a:r>
              <a:r>
                <a:rPr lang="ru-RU" altLang="en-US" sz="11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altLang="en-US" sz="1100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азходи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;</a:t>
              </a:r>
              <a:endPara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lvl="0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Индикативен срок на </a:t>
              </a:r>
              <a:r>
                <a:rPr lang="ru-RU" altLang="en-US" sz="1100" b="1" i="1" dirty="0" err="1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обявяване</a:t>
              </a:r>
              <a:r>
                <a:rPr lang="ru-RU" altLang="en-US" sz="1100" b="1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: </a:t>
              </a:r>
              <a:r>
                <a:rPr lang="ru-RU" altLang="en-US" sz="11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юли 2016 г.</a:t>
              </a:r>
            </a:p>
            <a:p>
              <a:pPr lvl="0">
                <a:lnSpc>
                  <a:spcPct val="90000"/>
                </a:lnSpc>
                <a:spcAft>
                  <a:spcPct val="35000"/>
                </a:spcAft>
                <a:tabLst>
                  <a:tab pos="0" algn="l"/>
                </a:tabLst>
              </a:pPr>
              <a:endParaRPr lang="ru-RU" altLang="en-US" sz="12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Rounded Rectangle 4"/>
            <p:cNvSpPr>
              <a:spLocks noChangeArrowheads="1"/>
            </p:cNvSpPr>
            <p:nvPr/>
          </p:nvSpPr>
          <p:spPr bwMode="auto">
            <a:xfrm>
              <a:off x="475945" y="226155"/>
              <a:ext cx="1625091" cy="1605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3340" tIns="26670" rIns="53340" bIns="26670" anchor="ctr"/>
            <a:lstStyle>
              <a:lvl1pPr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6223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</a:pPr>
              <a:endParaRPr lang="ru-RU" altLang="en-US" sz="14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8" name="Right Arrow 17"/>
          <p:cNvSpPr/>
          <p:nvPr/>
        </p:nvSpPr>
        <p:spPr bwMode="auto">
          <a:xfrm>
            <a:off x="35499" y="4005064"/>
            <a:ext cx="2448270" cy="1008112"/>
          </a:xfrm>
          <a:prstGeom prst="rightArrow">
            <a:avLst>
              <a:gd name="adj1" fmla="val 75000"/>
              <a:gd name="adj2" fmla="val 50000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2</a:t>
            </a:r>
            <a:endParaRPr lang="en-US" altLang="en-US" sz="1600" i="1" kern="0" dirty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2555777" y="3861048"/>
            <a:ext cx="6453692" cy="1440160"/>
          </a:xfrm>
          <a:prstGeom prst="roundRect">
            <a:avLst/>
          </a:prstGeom>
          <a:solidFill>
            <a:srgbClr val="AAAAAA">
              <a:lumMod val="40000"/>
              <a:lumOff val="60000"/>
            </a:srgbClr>
          </a:solidFill>
          <a:ln>
            <a:solidFill>
              <a:srgbClr val="FFDCAA">
                <a:lumMod val="50000"/>
              </a:srgb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„Развитие на 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управленския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МСП“</a:t>
            </a:r>
          </a:p>
          <a:p>
            <a:pPr>
              <a:lnSpc>
                <a:spcPct val="15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;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нимален и максимален размер на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0 000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–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91 166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1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b="1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1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услуги;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дикативен 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рок на обявяване: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ай 2016 г.</a:t>
            </a:r>
          </a:p>
          <a:p>
            <a:pPr marL="285750" indent="-285750">
              <a:buFontTx/>
              <a:buChar char="-"/>
            </a:pPr>
            <a:endParaRPr lang="ru-RU" altLang="en-US" sz="1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Tx/>
              <a:buChar char="-"/>
            </a:pPr>
            <a:endParaRPr lang="ru-RU" altLang="en-US" sz="14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35499" y="5589240"/>
            <a:ext cx="2448270" cy="936104"/>
          </a:xfrm>
          <a:prstGeom prst="rightArrow">
            <a:avLst>
              <a:gd name="adj1" fmla="val 75000"/>
              <a:gd name="adj2" fmla="val 48833"/>
            </a:avLst>
          </a:prstGeom>
          <a:gradFill rotWithShape="1">
            <a:gsLst>
              <a:gs pos="0">
                <a:srgbClr val="3497AE">
                  <a:tint val="50000"/>
                  <a:satMod val="300000"/>
                </a:srgbClr>
              </a:gs>
              <a:gs pos="35000">
                <a:srgbClr val="3497AE">
                  <a:tint val="37000"/>
                  <a:satMod val="300000"/>
                </a:srgbClr>
              </a:gs>
              <a:gs pos="100000">
                <a:srgbClr val="3497AE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497AE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bg-BG" altLang="en-US" sz="1600" i="1" kern="0" dirty="0" smtClean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altLang="en-US" sz="1600" i="1" kern="0" dirty="0" smtClean="0">
                <a:solidFill>
                  <a:srgbClr val="050595"/>
                </a:solidFill>
                <a:latin typeface="Tahoma" pitchFamily="34" charset="0"/>
                <a:cs typeface="Tahoma" pitchFamily="34" charset="0"/>
              </a:rPr>
              <a:t>Приоритетна ос 3</a:t>
            </a:r>
            <a:endParaRPr lang="en-US" altLang="en-US" sz="1600" i="1" kern="0" dirty="0">
              <a:solidFill>
                <a:srgbClr val="0505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2555776" y="5377408"/>
            <a:ext cx="6453693" cy="1480592"/>
          </a:xfrm>
          <a:prstGeom prst="roundRect">
            <a:avLst/>
          </a:prstGeom>
          <a:solidFill>
            <a:srgbClr val="AAAAAA">
              <a:lumMod val="40000"/>
              <a:lumOff val="60000"/>
            </a:srgbClr>
          </a:solidFill>
          <a:ln>
            <a:solidFill>
              <a:srgbClr val="FFDCAA">
                <a:lumMod val="50000"/>
              </a:srgb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/>
          <a:lstStyle/>
          <a:p>
            <a:pPr algn="ctr"/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„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та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в </a:t>
            </a:r>
            <a:r>
              <a:rPr lang="ru-RU" altLang="en-US" sz="11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ru-RU" altLang="en-US" sz="11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редприятия“</a:t>
            </a:r>
          </a:p>
          <a:p>
            <a:pPr>
              <a:lnSpc>
                <a:spcPct val="15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0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; 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редприятия</a:t>
            </a:r>
            <a:endParaRPr lang="ru-RU" altLang="en-US" sz="1100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нимален и максимален размер на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0 000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–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 5000 000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b="1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altLang="en-US" sz="11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в. </a:t>
            </a:r>
            <a:r>
              <a:rPr lang="ru-RU" altLang="en-US" sz="1100" i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азход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ход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услуги,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атериал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консумативи;</a:t>
            </a:r>
            <a:endParaRPr lang="ru-RU" altLang="en-US" sz="1100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lnSpc>
                <a:spcPct val="90000"/>
              </a:lnSpc>
              <a:spcAft>
                <a:spcPct val="35000"/>
              </a:spcAft>
              <a:tabLst>
                <a:tab pos="0" algn="l"/>
              </a:tabLst>
            </a:pPr>
            <a:r>
              <a:rPr lang="ru-RU" altLang="en-US" sz="11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дикативен срок на обявяване: </a:t>
            </a:r>
            <a:r>
              <a:rPr lang="ru-RU" altLang="en-US" sz="11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en-US" sz="11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ктомври</a:t>
            </a:r>
            <a:r>
              <a:rPr lang="ru-RU" altLang="en-US" sz="11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2016 г.</a:t>
            </a:r>
          </a:p>
          <a:p>
            <a:pPr marL="285750" indent="-285750">
              <a:buFontTx/>
              <a:buChar char="-"/>
            </a:pPr>
            <a:endParaRPr lang="ru-RU" altLang="en-US" sz="1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Tx/>
              <a:buChar char="-"/>
            </a:pPr>
            <a:endParaRPr lang="ru-RU" altLang="en-US" sz="14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400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614670" y="2060848"/>
            <a:ext cx="5914659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4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НОВИ</a:t>
            </a:r>
            <a: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/>
            </a:r>
            <a:b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</a:br>
            <a:r>
              <a:rPr lang="bg-BG" dirty="0" smtClean="0">
                <a:solidFill>
                  <a:srgbClr val="002060"/>
                </a:solidFill>
              </a:rPr>
              <a:t>ВЪЗМОЖНОСТИ </a:t>
            </a: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3600" dirty="0">
                <a:solidFill>
                  <a:srgbClr val="002060"/>
                </a:solidFill>
              </a:rPr>
              <a:t> </a:t>
            </a:r>
            <a:r>
              <a:rPr lang="bg-BG" sz="3600" dirty="0" smtClean="0">
                <a:solidFill>
                  <a:srgbClr val="002060"/>
                </a:solidFill>
              </a:rPr>
              <a:t>         </a:t>
            </a:r>
            <a:r>
              <a:rPr lang="bg-BG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2014 - 2020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27584" y="188641"/>
            <a:ext cx="7175351" cy="896584"/>
          </a:xfrm>
          <a:prstGeom prst="rect">
            <a:avLst/>
          </a:prstGeom>
          <a:effectLst/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28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en-US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WWW.OPCOMPETITIVENESS.BG</a:t>
            </a:r>
            <a:endParaRPr lang="bg-BG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28596" y="5072074"/>
            <a:ext cx="8298479" cy="1512000"/>
            <a:chOff x="428596" y="5072074"/>
            <a:chExt cx="8298479" cy="1512000"/>
          </a:xfrm>
        </p:grpSpPr>
        <p:pic>
          <p:nvPicPr>
            <p:cNvPr id="8" name="Picture 7" descr="OPIC1BG_COLOR_DOWN.fw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715140" y="5072074"/>
              <a:ext cx="2011935" cy="1512000"/>
            </a:xfrm>
            <a:prstGeom prst="rect">
              <a:avLst/>
            </a:prstGeom>
          </p:spPr>
        </p:pic>
        <p:pic>
          <p:nvPicPr>
            <p:cNvPr id="14" name="Picture 13" descr="textEU+LOGO.fw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8596" y="5072074"/>
              <a:ext cx="1426950" cy="151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07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404664"/>
            <a:ext cx="9144000" cy="980728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перативна </a:t>
            </a:r>
            <a:r>
              <a:rPr lang="ru-RU" sz="24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програма</a:t>
            </a:r>
            <a:r>
              <a:rPr lang="ru-RU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br>
              <a:rPr lang="ru-RU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ru-RU" sz="24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Иновации</a:t>
            </a:r>
            <a:r>
              <a:rPr lang="ru-RU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400" b="1" kern="12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конкурентоспособност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r>
              <a:rPr lang="ru-RU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2014-2020</a:t>
            </a: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611561" y="1556792"/>
            <a:ext cx="7920880" cy="494116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ПИК 2014-2020 </a:t>
            </a:r>
            <a:r>
              <a:rPr lang="en-US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e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фициално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добр</a:t>
            </a:r>
            <a:r>
              <a:rPr lang="en-US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e</a:t>
            </a:r>
            <a:r>
              <a:rPr lang="bg-BG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 от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вропейскат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омисия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 </a:t>
            </a: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3.03.2015 г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.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ПИК 2014-2020 е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сновният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грамен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документ н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ционалн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ив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чертаващ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омощт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ългарския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бизнес от ЕСИФ за периода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2014-2020 г. в </a:t>
            </a: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бласт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новациите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апацитета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за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стеж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МСП,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нергийната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и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есурсна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6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Общият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юджет на ОПИК 2014-2020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е в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змер на 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,270 </a:t>
            </a: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млрд. евр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ка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финансиране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от ЕФРР е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,079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млрд. евро (85% от бюджета), а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ционалното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съфинансиране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се </a:t>
            </a:r>
            <a:r>
              <a:rPr lang="ru-RU" sz="16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внява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на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91 </a:t>
            </a:r>
            <a:r>
              <a:rPr lang="ru-RU" sz="1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млн. евро (15% от бюджета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).</a:t>
            </a:r>
          </a:p>
          <a:p>
            <a:pPr marL="180975" indent="0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4705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altLang="en-US" sz="2200" dirty="0"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на ОПИК </a:t>
            </a:r>
            <a:r>
              <a:rPr lang="bg-BG" altLang="en-US" sz="2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 бюджетно разпределение</a:t>
            </a:r>
            <a:r>
              <a:rPr lang="bg-BG" altLang="en-US" sz="22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alt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bg-BG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/2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2600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123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983201"/>
            <a:ext cx="7488832" cy="1944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019166"/>
            <a:ext cx="7488832" cy="3659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1187624" y="1124744"/>
            <a:ext cx="4305280" cy="1690064"/>
            <a:chOff x="2111026" y="-1291748"/>
            <a:chExt cx="4305280" cy="1382461"/>
          </a:xfrm>
        </p:grpSpPr>
        <p:sp>
          <p:nvSpPr>
            <p:cNvPr id="30" name="Right Arrow 29"/>
            <p:cNvSpPr/>
            <p:nvPr/>
          </p:nvSpPr>
          <p:spPr>
            <a:xfrm>
              <a:off x="2111026" y="-1291748"/>
              <a:ext cx="4305280" cy="1382461"/>
            </a:xfrm>
            <a:prstGeom prst="rightArrow">
              <a:avLst>
                <a:gd name="adj1" fmla="val 75000"/>
                <a:gd name="adj2" fmla="val 50000"/>
              </a:avLst>
            </a:prstGeom>
            <a:gradFill rotWithShape="1">
              <a:gsLst>
                <a:gs pos="28000">
                  <a:srgbClr val="5ECCF3">
                    <a:tint val="18000"/>
                    <a:satMod val="120000"/>
                    <a:lumMod val="88000"/>
                  </a:srgbClr>
                </a:gs>
                <a:gs pos="100000">
                  <a:srgbClr val="5ECCF3">
                    <a:tint val="40000"/>
                    <a:satMod val="100000"/>
                    <a:lumMod val="78000"/>
                  </a:srgbClr>
                </a:gs>
              </a:gsLst>
              <a:lin ang="5400000" scaled="0"/>
            </a:gradFill>
            <a:ln w="9525" cap="flat" cmpd="sng" algn="ctr">
              <a:solidFill>
                <a:srgbClr val="5ECCF3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31" name="Right Arrow 4"/>
            <p:cNvSpPr/>
            <p:nvPr/>
          </p:nvSpPr>
          <p:spPr>
            <a:xfrm>
              <a:off x="2155620" y="-1115041"/>
              <a:ext cx="3705779" cy="100592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t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1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1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хнологично развитие и иновации</a:t>
              </a:r>
              <a:r>
                <a:rPr lang="en-US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 ел1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492905" y="860427"/>
            <a:ext cx="260748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0"/>
              </a:spcBef>
            </a:pPr>
            <a:r>
              <a:rPr lang="bg-BG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: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altLang="en-US" sz="1600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ехнологично </a:t>
            </a:r>
            <a:r>
              <a:rPr lang="bg-BG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витие </a:t>
            </a:r>
            <a:r>
              <a:rPr lang="bg-BG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bg-BG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овации</a:t>
            </a:r>
          </a:p>
          <a:p>
            <a:pPr algn="ctr">
              <a:spcBef>
                <a:spcPts val="0"/>
              </a:spcBef>
            </a:pPr>
            <a:endParaRPr lang="en-US" altLang="en-US" sz="16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3.25%</a:t>
            </a:r>
            <a:r>
              <a:rPr lang="ru-RU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algn="ctr">
              <a:spcBef>
                <a:spcPts val="0"/>
              </a:spcBef>
            </a:pPr>
            <a:r>
              <a:rPr lang="ru-RU" altLang="en-US" sz="16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95.3 </a:t>
            </a:r>
            <a:r>
              <a:rPr lang="ru-RU" altLang="en-US" sz="16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евро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</a:t>
            </a:r>
            <a:r>
              <a:rPr lang="ru-RU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ru-RU" altLang="en-US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187624" y="3018025"/>
            <a:ext cx="4305279" cy="1546912"/>
            <a:chOff x="2485491" y="2233103"/>
            <a:chExt cx="4355180" cy="1546912"/>
          </a:xfrm>
        </p:grpSpPr>
        <p:sp>
          <p:nvSpPr>
            <p:cNvPr id="39" name="Right Arrow 38"/>
            <p:cNvSpPr/>
            <p:nvPr/>
          </p:nvSpPr>
          <p:spPr>
            <a:xfrm>
              <a:off x="2485491" y="2233103"/>
              <a:ext cx="4355180" cy="1546912"/>
            </a:xfrm>
            <a:prstGeom prst="rightArrow">
              <a:avLst>
                <a:gd name="adj1" fmla="val 75000"/>
                <a:gd name="adj2" fmla="val 50000"/>
              </a:avLst>
            </a:prstGeom>
            <a:solidFill>
              <a:srgbClr val="4E67C8">
                <a:lumMod val="60000"/>
                <a:lumOff val="40000"/>
              </a:srgbClr>
            </a:solidFill>
            <a:ln w="9525" cap="flat" cmpd="sng" algn="ctr">
              <a:solidFill>
                <a:srgbClr val="FF8021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40" name="Right Arrow 4"/>
            <p:cNvSpPr/>
            <p:nvPr/>
          </p:nvSpPr>
          <p:spPr>
            <a:xfrm>
              <a:off x="2485491" y="2426467"/>
              <a:ext cx="3775088" cy="116018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t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</a:t>
              </a:r>
              <a:r>
                <a:rPr lang="ru-RU" sz="1600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ru-RU" sz="1600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стъп до финансиране в подкрепа на предприемачеството 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ел 3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135680" y="4642615"/>
            <a:ext cx="4409167" cy="1562627"/>
            <a:chOff x="2520276" y="3855507"/>
            <a:chExt cx="4409167" cy="1562627"/>
          </a:xfrm>
        </p:grpSpPr>
        <p:sp>
          <p:nvSpPr>
            <p:cNvPr id="45" name="Right Arrow 44"/>
            <p:cNvSpPr/>
            <p:nvPr/>
          </p:nvSpPr>
          <p:spPr>
            <a:xfrm>
              <a:off x="2520276" y="3855507"/>
              <a:ext cx="4409167" cy="1562627"/>
            </a:xfrm>
            <a:prstGeom prst="rightArrow">
              <a:avLst>
                <a:gd name="adj1" fmla="val 75000"/>
                <a:gd name="adj2" fmla="val 50000"/>
              </a:avLst>
            </a:prstGeom>
            <a:solidFill>
              <a:srgbClr val="4E67C8">
                <a:lumMod val="60000"/>
                <a:lumOff val="40000"/>
              </a:srgbClr>
            </a:solidFill>
            <a:ln w="9525" cap="flat" cmpd="sng" algn="ctr">
              <a:solidFill>
                <a:srgbClr val="FF8021"/>
              </a:solidFill>
              <a:prstDash val="solid"/>
            </a:ln>
            <a:effectLst>
              <a:outerShdw blurRad="63500" dist="50800" dir="5400000" sx="98000" sy="98000" rotWithShape="0">
                <a:srgbClr val="000000">
                  <a:alpha val="20000"/>
                </a:srgbClr>
              </a:outerShdw>
            </a:effectLst>
          </p:spPr>
        </p:sp>
        <p:sp>
          <p:nvSpPr>
            <p:cNvPr id="46" name="Right Arrow 4"/>
            <p:cNvSpPr/>
            <p:nvPr/>
          </p:nvSpPr>
          <p:spPr>
            <a:xfrm>
              <a:off x="2520276" y="4050835"/>
              <a:ext cx="3823182" cy="11719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114300" lvl="1" indent="-114300" algn="ctr" defTabSz="533400" fontAlgn="auto">
                <a:spcAft>
                  <a:spcPts val="0"/>
                </a:spcAft>
                <a:buFontTx/>
                <a:buChar char="••"/>
                <a:defRPr/>
              </a:pP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4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4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апацитет за растеж на МСП</a:t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Тематична Цел 3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)</a:t>
              </a:r>
              <a:endParaRPr lang="bg-BG" sz="1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5544847" y="3356992"/>
            <a:ext cx="24115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bg-BG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 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</a:t>
            </a:r>
            <a:r>
              <a:rPr lang="bg-BG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altLang="en-US" sz="1600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емачество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altLang="en-US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altLang="en-US" sz="16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стеж</a:t>
            </a: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5.47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%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altLang="en-US" sz="16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577.5 </a:t>
            </a:r>
            <a:r>
              <a:rPr lang="ru-RU" altLang="en-US" sz="1600" i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евро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en-US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</a:t>
            </a:r>
            <a:endParaRPr lang="en-US" altLang="en-US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en-US" altLang="en-US" sz="16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28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967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altLang="en-US" sz="22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на ОПИК и бюджетно разпределение </a:t>
            </a:r>
            <a:r>
              <a:rPr lang="en-US" alt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alt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/2</a:t>
            </a:r>
            <a:r>
              <a:rPr lang="en-US" altLang="en-US" sz="1400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2600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123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576" y="978691"/>
            <a:ext cx="7632848" cy="3017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4" name="Rectangle 3"/>
          <p:cNvSpPr>
            <a:spLocks noChangeArrowheads="1"/>
          </p:cNvSpPr>
          <p:nvPr/>
        </p:nvSpPr>
        <p:spPr bwMode="auto">
          <a:xfrm>
            <a:off x="5978971" y="1478739"/>
            <a:ext cx="2158019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оритетна 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 </a:t>
            </a:r>
            <a:r>
              <a:rPr lang="en-US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</a:t>
            </a:r>
            <a:r>
              <a:rPr lang="ru-RU" altLang="en-US" sz="1600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есурсна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endParaRPr lang="ru-RU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endParaRPr lang="ru-RU" altLang="en-US" sz="1600" b="1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sz="1600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4.46%</a:t>
            </a:r>
          </a:p>
          <a:p>
            <a:pPr algn="ctr">
              <a:spcBef>
                <a:spcPts val="0"/>
              </a:spcBef>
            </a:pP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310.7 </a:t>
            </a:r>
            <a:r>
              <a:rPr lang="ru-RU" altLang="en-US" sz="1600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ru-RU" altLang="en-US" sz="16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вро)</a:t>
            </a:r>
            <a:endParaRPr lang="ru-RU" altLang="en-US" sz="1600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а на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ПИК</a:t>
            </a:r>
            <a:endParaRPr lang="ru-RU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127" name="Group 10"/>
          <p:cNvGrpSpPr>
            <a:grpSpLocks/>
          </p:cNvGrpSpPr>
          <p:nvPr/>
        </p:nvGrpSpPr>
        <p:grpSpPr bwMode="auto">
          <a:xfrm>
            <a:off x="1331640" y="2651795"/>
            <a:ext cx="4680520" cy="1190353"/>
            <a:chOff x="2126602" y="4543357"/>
            <a:chExt cx="4802863" cy="839667"/>
          </a:xfrm>
        </p:grpSpPr>
        <p:sp>
          <p:nvSpPr>
            <p:cNvPr id="12" name="Right Arrow 11"/>
            <p:cNvSpPr/>
            <p:nvPr/>
          </p:nvSpPr>
          <p:spPr>
            <a:xfrm>
              <a:off x="2126602" y="4543357"/>
              <a:ext cx="4802863" cy="839667"/>
            </a:xfrm>
            <a:prstGeom prst="rightArrow">
              <a:avLst>
                <a:gd name="adj1" fmla="val 75000"/>
                <a:gd name="adj2" fmla="val 44912"/>
              </a:avLst>
            </a:prstGeom>
            <a:solidFill>
              <a:srgbClr val="92D050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ight Arrow 4"/>
            <p:cNvSpPr/>
            <p:nvPr/>
          </p:nvSpPr>
          <p:spPr>
            <a:xfrm>
              <a:off x="2126602" y="4663471"/>
              <a:ext cx="4442818" cy="7195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0160" tIns="10160" rIns="10160" bIns="10160" anchor="ctr"/>
            <a:lstStyle/>
            <a:p>
              <a:pPr marL="171450" lvl="1" indent="-171450" algn="ctr" defTabSz="711200">
                <a:buFontTx/>
                <a:buChar char="•"/>
              </a:pP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2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Ресурсна </a:t>
              </a:r>
              <a:r>
                <a:rPr lang="bg-BG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ефективност</a:t>
              </a:r>
              <a:r>
                <a:rPr lang="bg-BG" sz="1600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bg-BG" sz="16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/>
              </a:r>
              <a:br>
                <a:rPr lang="bg-BG" sz="1600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(Тематична Цел 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6)</a:t>
              </a:r>
            </a:p>
          </p:txBody>
        </p:sp>
      </p:grpSp>
      <p:grpSp>
        <p:nvGrpSpPr>
          <p:cNvPr id="5128" name="Group 15"/>
          <p:cNvGrpSpPr>
            <a:grpSpLocks/>
          </p:cNvGrpSpPr>
          <p:nvPr/>
        </p:nvGrpSpPr>
        <p:grpSpPr bwMode="auto">
          <a:xfrm>
            <a:off x="1364803" y="1300070"/>
            <a:ext cx="4614193" cy="1202026"/>
            <a:chOff x="2137513" y="3538562"/>
            <a:chExt cx="4791932" cy="990030"/>
          </a:xfrm>
        </p:grpSpPr>
        <p:sp>
          <p:nvSpPr>
            <p:cNvPr id="17" name="Right Arrow 16"/>
            <p:cNvSpPr/>
            <p:nvPr/>
          </p:nvSpPr>
          <p:spPr>
            <a:xfrm>
              <a:off x="2137513" y="3538562"/>
              <a:ext cx="4791932" cy="990030"/>
            </a:xfrm>
            <a:prstGeom prst="rightArrow">
              <a:avLst>
                <a:gd name="adj1" fmla="val 75000"/>
                <a:gd name="adj2" fmla="val 40466"/>
              </a:avLst>
            </a:prstGeom>
            <a:solidFill>
              <a:srgbClr val="92D050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ight Arrow 4"/>
            <p:cNvSpPr/>
            <p:nvPr/>
          </p:nvSpPr>
          <p:spPr>
            <a:xfrm>
              <a:off x="2211146" y="3661856"/>
              <a:ext cx="4346686" cy="7434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0160" tIns="10160" rIns="10160" bIns="10160" anchor="ctr"/>
            <a:lstStyle/>
            <a:p>
              <a:pPr marL="171450" lvl="1" indent="-171450" algn="ctr" defTabSz="711200">
                <a:buFontTx/>
                <a:buChar char="•"/>
              </a:pP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ен приоритет </a:t>
              </a:r>
              <a:r>
                <a:rPr lang="en-US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.1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Енергийни </a:t>
              </a:r>
              <a:r>
                <a:rPr lang="bg-BG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технологии и енергийна ефективност </a:t>
              </a:r>
              <a: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/>
              </a:r>
              <a:br>
                <a:rPr lang="bg-BG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bg-BG" sz="1200" i="1" dirty="0" smtClean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(Тематична Цел </a:t>
              </a:r>
              <a:r>
                <a:rPr lang="bg-BG" sz="1200" i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4)</a:t>
              </a:r>
            </a:p>
          </p:txBody>
        </p:sp>
      </p:grp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038177"/>
            <a:ext cx="7632848" cy="257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ight Arrow 26"/>
          <p:cNvSpPr/>
          <p:nvPr/>
        </p:nvSpPr>
        <p:spPr>
          <a:xfrm>
            <a:off x="1215445" y="4365104"/>
            <a:ext cx="4794408" cy="2088232"/>
          </a:xfrm>
          <a:prstGeom prst="rightArrow">
            <a:avLst>
              <a:gd name="adj1" fmla="val 75000"/>
              <a:gd name="adj2" fmla="val 50000"/>
            </a:avLst>
          </a:prstGeom>
          <a:solidFill>
            <a:srgbClr val="EBD3F1"/>
          </a:solidFill>
          <a:ln>
            <a:solidFill>
              <a:srgbClr val="EBD3F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TextBox 1"/>
          <p:cNvSpPr txBox="1"/>
          <p:nvPr/>
        </p:nvSpPr>
        <p:spPr>
          <a:xfrm>
            <a:off x="5960355" y="4019223"/>
            <a:ext cx="215455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1600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оритетна ос 4:</a:t>
            </a:r>
          </a:p>
          <a:p>
            <a:pPr algn="ctr">
              <a:spcAft>
                <a:spcPts val="0"/>
              </a:spcAft>
            </a:pP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махване на пречките в областта на сигурността на доставките на газ</a:t>
            </a:r>
          </a:p>
          <a:p>
            <a:pPr algn="ctr">
              <a:spcAft>
                <a:spcPts val="0"/>
              </a:spcAft>
            </a:pPr>
            <a:endParaRPr lang="ru-RU" sz="1600" b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.54%</a:t>
            </a:r>
          </a:p>
          <a:p>
            <a:pPr algn="ctr">
              <a:spcAft>
                <a:spcPts val="0"/>
              </a:spcAft>
            </a:pP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45 </a:t>
            </a:r>
            <a:r>
              <a:rPr lang="ru-RU" sz="1600" i="1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.евро</a:t>
            </a: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 бюджета на </a:t>
            </a:r>
            <a:br>
              <a:rPr lang="ru-RU" sz="16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ru-RU" sz="16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90720" y="4726174"/>
            <a:ext cx="436236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ctr">
              <a:spcAft>
                <a:spcPts val="0"/>
              </a:spcAft>
              <a:buFont typeface="Arial" pitchFamily="34" charset="0"/>
              <a:buChar char="•"/>
            </a:pP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вестиционен приоритет  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en-US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1</a:t>
            </a: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обряване на енергийната ефективност и сигурността на доставките чрез разработване на интелигентни системи за пренос на енергия</a:t>
            </a:r>
            <a:r>
              <a:rPr lang="bg-B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12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тична Цел 7</a:t>
            </a:r>
            <a:r>
              <a:rPr lang="en-US" sz="12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bg-BG" sz="1200" i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16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84194" y="404664"/>
            <a:ext cx="8937867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.1 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Технологично развитие и иновации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 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</a:p>
        </p:txBody>
      </p:sp>
      <p:sp>
        <p:nvSpPr>
          <p:cNvPr id="5" name="Rectangle 4"/>
          <p:cNvSpPr/>
          <p:nvPr/>
        </p:nvSpPr>
        <p:spPr>
          <a:xfrm>
            <a:off x="173411" y="1979913"/>
            <a:ext cx="2808435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7" name="Rectangle 6"/>
          <p:cNvSpPr/>
          <p:nvPr/>
        </p:nvSpPr>
        <p:spPr>
          <a:xfrm>
            <a:off x="173411" y="2492896"/>
            <a:ext cx="2808435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е на сътрудничеството между предприятията и между научните сред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бизнеса</a:t>
            </a:r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иновации в предприятията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развитие на среда и инфраструктура за изследвания и иновации</a:t>
            </a:r>
          </a:p>
        </p:txBody>
      </p:sp>
      <p:sp>
        <p:nvSpPr>
          <p:cNvPr id="8" name="Rectangle 7"/>
          <p:cNvSpPr/>
          <p:nvPr/>
        </p:nvSpPr>
        <p:spPr>
          <a:xfrm>
            <a:off x="3092186" y="1979913"/>
            <a:ext cx="3220515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01781" y="2004588"/>
            <a:ext cx="2520280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90673" y="2492896"/>
            <a:ext cx="3222028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то на  иновационната дейност и капацитет на предприятият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растване дела на предприятията, които самостоятелно разработват, внедряват и разпространяват иновации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звеждане на българските предприятия и иноватори на международния пазар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зграждане на иновационен капацитет и създаване на дългосрочни конкурентни предимства на странат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01781" y="2492896"/>
            <a:ext cx="2504306" cy="2376264"/>
          </a:xfrm>
          <a:prstGeom prst="rect">
            <a:avLst/>
          </a:prstGeom>
          <a:solidFill>
            <a:srgbClr val="D3ECF2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 (МСП и големи), техни обединения, вкл. партньорства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лъстери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генции, ведомства и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рг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на бизнеса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фиси за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ехн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трансфер и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ехн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. центрове;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офия Тех Парк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3411" y="5223846"/>
            <a:ext cx="8848650" cy="50940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ще се предоставя за инвестиции, попадащи изключително в областите на Иновационната стратегия за интелигентна специализация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73411" y="5936899"/>
            <a:ext cx="8832676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235.3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1959903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prstClr val="white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21779" y="188640"/>
            <a:ext cx="9144000" cy="126876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2409" y="1916832"/>
            <a:ext cx="288044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 фин. инструмент</a:t>
            </a:r>
          </a:p>
        </p:txBody>
      </p:sp>
      <p:sp>
        <p:nvSpPr>
          <p:cNvPr id="9" name="Rectangle 8"/>
          <p:cNvSpPr/>
          <p:nvPr/>
        </p:nvSpPr>
        <p:spPr>
          <a:xfrm>
            <a:off x="3471814" y="1916832"/>
            <a:ext cx="2459746" cy="33884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44208" y="1916832"/>
            <a:ext cx="2411928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44208" y="2492896"/>
            <a:ext cx="2401944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ениджър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ни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нституции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0401" y="2492896"/>
            <a:ext cx="2952452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ългови инструменти за иновации в предприятията</a:t>
            </a:r>
            <a:r>
              <a:rPr lang="ru-RU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Г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ранции, покриващи загуби по портфейл от дългове, или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редити и/или лизинги за инвестиции в активи и/или оборотни средства за растеж и развитие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Дялови и </a:t>
            </a:r>
            <a:r>
              <a:rPr lang="bg-BG" sz="1200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вази</a:t>
            </a:r>
            <a:r>
              <a:rPr lang="bg-BG" sz="1200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дялови инвестиции </a:t>
            </a:r>
            <a:endParaRPr lang="bg-BG" sz="1200" i="1" dirty="0" smtClean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 технологичен трансфер, </a:t>
            </a:r>
            <a:r>
              <a:rPr lang="bg-BG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мерсиализация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научни резултати, права по интелектуална собственост и др.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71814" y="2492896"/>
            <a:ext cx="2459746" cy="2592288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азвит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ли вече съществуващи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, разработващи/внедряващи иновации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МСП и големи);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ятия, осъществяващи НИРД (</a:t>
            </a:r>
            <a:r>
              <a:rPr lang="bg-BG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 и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леми</a:t>
            </a:r>
            <a:r>
              <a:rPr lang="bg-BG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;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 предприятия, базирани на знанието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61504" y="5246561"/>
            <a:ext cx="8594632" cy="55870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 ще се предоставя за инвестиции, попадащи изключително в областите н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овационнат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тратегия з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телигентн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пециализация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34888" y="5936899"/>
            <a:ext cx="8621247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60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84194" y="404664"/>
            <a:ext cx="8937867" cy="126876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 fontAlgn="auto">
              <a:spcAft>
                <a:spcPts val="0"/>
              </a:spcAft>
              <a:buNone/>
              <a:defRPr/>
            </a:pP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1.1 „Технологично развитие и иновации“ </a:t>
            </a: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</a:t>
            </a:r>
            <a:r>
              <a:rPr lang="en-US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151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0" y="260648"/>
            <a:ext cx="9144000" cy="10081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4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4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1 „Достъп до финансиране в подкрепа на предприемачеството“ </a:t>
            </a:r>
            <a: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b="1" kern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безвъзмездна помощ</a:t>
            </a:r>
            <a:endParaRPr lang="bg-BG" sz="20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79512" y="1592776"/>
            <a:ext cx="244827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8" name="Rectangle 7"/>
          <p:cNvSpPr/>
          <p:nvPr/>
        </p:nvSpPr>
        <p:spPr>
          <a:xfrm>
            <a:off x="179512" y="2132856"/>
            <a:ext cx="2448272" cy="2461220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асърчаване на предприемачески идеи в области, свързани с европейски и регионални предизвикателст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2843808" y="1592776"/>
            <a:ext cx="258069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687625" y="1613927"/>
            <a:ext cx="338437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43808" y="2145804"/>
            <a:ext cx="2580692" cy="244827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р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звитие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нови предприятия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нкурентиспособностт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таки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;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ъзд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устойчивост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работни места;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стиг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растеж в областите, свързани с европейск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гионал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извикателства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687624" y="2145804"/>
            <a:ext cx="3384376" cy="2448272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ru-RU" sz="12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оворегистрирани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съществуващи предприятия в секторите съгласно Националната стратегия за насърчаване на МСП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ятия, развиващи своята дейност в областта на културните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творческите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дустрии, както и развиващи нови продукти и услуги, свързани със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астаряването на населението, полагане на грижи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здравеопаз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оциалн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приемачество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др.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ounded Rectangle 4"/>
          <p:cNvSpPr/>
          <p:nvPr/>
        </p:nvSpPr>
        <p:spPr>
          <a:xfrm>
            <a:off x="417212" y="5086405"/>
            <a:ext cx="8568951" cy="55501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03858" tIns="0" rIns="203858" bIns="0" numCol="1" spcCol="1270" anchor="ctr" anchorCtr="0">
            <a:noAutofit/>
          </a:bodyPr>
          <a:lstStyle/>
          <a:p>
            <a:pPr lvl="0"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bg-BG" sz="1500" i="0" kern="1200" noProof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1500" i="0" kern="1200" dirty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79512" y="6076853"/>
            <a:ext cx="8892487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 34.</a:t>
            </a:r>
            <a:r>
              <a:rPr lang="en-US" sz="1400" b="1" i="1" dirty="0" smtClean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4</a:t>
            </a:r>
            <a:r>
              <a:rPr lang="bg-BG" sz="1400" b="1" i="1" dirty="0" smtClean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400" b="1" i="1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79512" y="4997951"/>
            <a:ext cx="8892489" cy="83786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вижд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е и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идеи,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които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ще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е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реализира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от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– лица до 29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годишна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ъзрас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и лица на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възраст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д 50 г.,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обствен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бизнес, жени-</a:t>
            </a:r>
            <a:r>
              <a:rPr lang="ru-RU" sz="1400" b="1" i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400" b="1" i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и др. под. </a:t>
            </a:r>
          </a:p>
        </p:txBody>
      </p:sp>
    </p:spTree>
    <p:extLst>
      <p:ext uri="{BB962C8B-B14F-4D97-AF65-F5344CB8AC3E}">
        <p14:creationId xmlns:p14="http://schemas.microsoft.com/office/powerpoint/2010/main" val="2542686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0" y="116632"/>
            <a:ext cx="9144000" cy="115212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1 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Достъп до финансиране в подкрепа на предприемачеството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подкрепа чрез </a:t>
            </a:r>
            <a:r>
              <a:rPr lang="bg-BG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4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5932" y="1573358"/>
            <a:ext cx="3145408" cy="34347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 фин. инструмент</a:t>
            </a:r>
          </a:p>
        </p:txBody>
      </p:sp>
      <p:sp>
        <p:nvSpPr>
          <p:cNvPr id="8" name="Rectangle 7"/>
          <p:cNvSpPr/>
          <p:nvPr/>
        </p:nvSpPr>
        <p:spPr>
          <a:xfrm>
            <a:off x="265931" y="2132854"/>
            <a:ext cx="3145409" cy="1656185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, осигуряващ начален капитал</a:t>
            </a:r>
            <a:endParaRPr lang="bg-BG" sz="1200" i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за начално финансиране с два компонента: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мпонент акселерация;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AutoNum type="arabicPeriod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мпонент начално финансиране.</a:t>
            </a:r>
            <a:endParaRPr lang="en-US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</a:b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32287" y="1573358"/>
            <a:ext cx="2580692" cy="34347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ева група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629639" y="2672936"/>
            <a:ext cx="216299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532287" y="2132855"/>
            <a:ext cx="2580692" cy="1656185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ртиращи</a:t>
            </a:r>
            <a:r>
              <a:rPr lang="ru-RU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емачи</a:t>
            </a:r>
            <a:r>
              <a:rPr lang="ru-RU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/ </a:t>
            </a:r>
            <a:r>
              <a:rPr lang="ru-RU" sz="12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овосъзадени</a:t>
            </a:r>
            <a:r>
              <a:rPr lang="ru-RU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МСП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желае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щ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реализират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бизнес идея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тойност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д 25 000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евро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629639" y="3356991"/>
            <a:ext cx="2232248" cy="1728193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на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овете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ениджър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друг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ни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7064" y="4221087"/>
            <a:ext cx="3184276" cy="1800201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bg-BG" sz="1200" i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Инструмент, осигуряващ капитал за стартиращи предприятия и предприятия в ранни фази на развитие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Фонд за рисков капитал с фокус върху предприятия с дейност в областта на високите технологии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412723" y="3934990"/>
            <a:ext cx="3888432" cy="284163"/>
          </a:xfrm>
          <a:prstGeom prst="triangle">
            <a:avLst>
              <a:gd name="adj" fmla="val 50000"/>
            </a:avLst>
          </a:prstGeom>
          <a:solidFill>
            <a:srgbClr val="7575FA"/>
          </a:solidFill>
          <a:ln w="12700">
            <a:solidFill>
              <a:srgbClr val="FFFFFF"/>
            </a:solidFill>
            <a:miter lim="800000"/>
            <a:headEnd/>
            <a:tailEnd/>
          </a:ln>
        </p:spPr>
        <p:txBody>
          <a:bodyPr wrap="none" lIns="90488" tIns="44450" rIns="90488" bIns="44450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532287" y="4221087"/>
            <a:ext cx="2580692" cy="1800201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ъв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аза на </a:t>
            </a:r>
            <a:r>
              <a:rPr lang="ru-RU" sz="12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нно</a:t>
            </a:r>
            <a:r>
              <a:rPr lang="ru-RU" sz="12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развитие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овативн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високотехнологични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МСП </a:t>
            </a: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 рисков </a:t>
            </a:r>
            <a:r>
              <a:rPr lang="ru-RU" sz="1200" dirty="0" err="1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фил</a:t>
            </a:r>
            <a:endParaRPr lang="bg-BG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7504" y="6341563"/>
            <a:ext cx="8856984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: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5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5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евро за Фонда за начално финансиране и 25 млн. евро за Фонда за рисков капитал</a:t>
            </a:r>
            <a:endParaRPr lang="bg-BG" sz="1400" b="1" i="1" dirty="0">
              <a:solidFill>
                <a:srgbClr val="212745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442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ИП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„</a:t>
            </a:r>
            <a:r>
              <a:rPr lang="ru-RU" sz="24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4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“ </a:t>
            </a:r>
            <a: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дкреп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чрез </a:t>
            </a: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безвъзмездна</a:t>
            </a:r>
            <a:r>
              <a:rPr lang="ru-RU" sz="20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помощ</a:t>
            </a:r>
            <a:endParaRPr lang="bg-BG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9388" y="1340768"/>
            <a:ext cx="2880444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ейности</a:t>
            </a:r>
          </a:p>
        </p:txBody>
      </p:sp>
      <p:sp>
        <p:nvSpPr>
          <p:cNvPr id="7" name="Rectangle 6"/>
          <p:cNvSpPr/>
          <p:nvPr/>
        </p:nvSpPr>
        <p:spPr>
          <a:xfrm>
            <a:off x="179388" y="1916832"/>
            <a:ext cx="2880444" cy="273630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нвестиции з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изводствения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зд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онкурентни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err="1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едимства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bg-BG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специализирани услуги за МСП за развитие и укрепване на управленския 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апацитет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Н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асърчаване</a:t>
            </a: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 използването на ИКТ технологии и услуги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  <a:defRPr/>
            </a:pPr>
            <a:r>
              <a:rPr lang="ru-RU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крепа за дейности в пряка полза за развитието на бизнеса и експортната ориентация </a:t>
            </a:r>
            <a:r>
              <a:rPr lang="ru-RU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МСП</a:t>
            </a:r>
          </a:p>
        </p:txBody>
      </p:sp>
      <p:sp>
        <p:nvSpPr>
          <p:cNvPr id="8" name="Rectangle 7"/>
          <p:cNvSpPr/>
          <p:nvPr/>
        </p:nvSpPr>
        <p:spPr>
          <a:xfrm>
            <a:off x="3125552" y="1348036"/>
            <a:ext cx="3102632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чакван принос</a:t>
            </a:r>
            <a:endParaRPr lang="bg-BG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300192" y="1340768"/>
            <a:ext cx="2664296" cy="3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bg-BG" sz="14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енефициенти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25552" y="1916832"/>
            <a:ext cx="3102632" cy="273630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конкурентоспособността и пазарното присъствие на МСП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здаване на потенциал за експорт</a:t>
            </a:r>
            <a:endParaRPr lang="ru-RU" sz="1200" dirty="0" smtClean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производителността, намаляване на производствените разходи и оптимизиране </a:t>
            </a:r>
            <a:r>
              <a:rPr lang="bg-BG" sz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роизводствената верига</a:t>
            </a:r>
          </a:p>
          <a:p>
            <a:pPr marL="171450" lvl="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вишаване на добавената стойност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Подобряване на управленския капацитет и организацията на предприятията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300192" y="1916832"/>
            <a:ext cx="2664296" cy="2736304"/>
          </a:xfrm>
          <a:prstGeom prst="rect">
            <a:avLst/>
          </a:prstGeom>
          <a:solidFill>
            <a:srgbClr val="FFE69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0" rtlCol="0" anchor="ctr"/>
          <a:lstStyle/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Съществуващи МСП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Клъстери </a:t>
            </a:r>
          </a:p>
          <a:p>
            <a:pPr marL="171450" lvl="0" indent="-171450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bg-BG" sz="1200" dirty="0" smtClean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Организации </a:t>
            </a:r>
            <a:r>
              <a:rPr lang="bg-BG" sz="1200" dirty="0">
                <a:solidFill>
                  <a:srgbClr val="040470"/>
                </a:solidFill>
                <a:latin typeface="Tahoma" pitchFamily="34" charset="0"/>
                <a:cs typeface="Tahoma" pitchFamily="34" charset="0"/>
              </a:rPr>
              <a:t>и институции, които са свързани с осъществяването на дейности и предоставянето на услуги за подкрепа на бизнеса</a:t>
            </a:r>
            <a:endParaRPr lang="ru-RU" sz="1200" dirty="0">
              <a:solidFill>
                <a:srgbClr val="04047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61504" y="5085185"/>
            <a:ext cx="8594632" cy="5040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кторен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ход на </a:t>
            </a:r>
            <a:r>
              <a:rPr lang="ru-RU" sz="1350" b="1" dirty="0" err="1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135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ъгласно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Националната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тратегия за </a:t>
            </a:r>
            <a:r>
              <a:rPr lang="ru-RU" sz="1350" b="1" dirty="0" err="1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насърчаване</a:t>
            </a:r>
            <a:r>
              <a:rPr lang="ru-RU" sz="1350" b="1" dirty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на МСП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34889" y="5936899"/>
            <a:ext cx="8594632" cy="4444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ts val="600"/>
              </a:spcBef>
              <a:defRPr/>
            </a:pP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Бюджет</a:t>
            </a:r>
            <a:r>
              <a:rPr lang="bg-BG" sz="1400" b="1" i="1" dirty="0" smtClean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: 408 </a:t>
            </a:r>
            <a:r>
              <a:rPr lang="bg-BG" sz="1400" b="1" i="1" dirty="0">
                <a:solidFill>
                  <a:srgbClr val="212745"/>
                </a:solidFill>
                <a:latin typeface="Tahoma" pitchFamily="34" charset="0"/>
                <a:cs typeface="Tahoma" pitchFamily="34" charset="0"/>
              </a:rPr>
              <a:t>млн. евро</a:t>
            </a:r>
          </a:p>
        </p:txBody>
      </p:sp>
    </p:spTree>
    <p:extLst>
      <p:ext uri="{BB962C8B-B14F-4D97-AF65-F5344CB8AC3E}">
        <p14:creationId xmlns:p14="http://schemas.microsoft.com/office/powerpoint/2010/main" val="765574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26</TotalTime>
  <Words>1762</Words>
  <Application>Microsoft Office PowerPoint</Application>
  <PresentationFormat>On-screen Show (4:3)</PresentationFormat>
  <Paragraphs>265</Paragraphs>
  <Slides>16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0</vt:i4>
      </vt:variant>
      <vt:variant>
        <vt:lpstr>Slide Titles</vt:lpstr>
      </vt:variant>
      <vt:variant>
        <vt:i4>16</vt:i4>
      </vt:variant>
    </vt:vector>
  </HeadingPairs>
  <TitlesOfParts>
    <vt:vector size="36" baseType="lpstr">
      <vt:lpstr>Ppt0000003</vt:lpstr>
      <vt:lpstr>OPIK-Portrait_Transperant_14</vt:lpstr>
      <vt:lpstr>1_Slipstream</vt:lpstr>
      <vt:lpstr>2_Slipstream</vt:lpstr>
      <vt:lpstr>1_OPIK-Portrait_Transperant_14</vt:lpstr>
      <vt:lpstr>3_Slipstream</vt:lpstr>
      <vt:lpstr>4_Slipstream</vt:lpstr>
      <vt:lpstr>2_OPIK-Portrait_Transperant_14</vt:lpstr>
      <vt:lpstr>3_OPIK-Portrait_Transperant_14</vt:lpstr>
      <vt:lpstr>4_OPIK-Portrait_Transperant_14</vt:lpstr>
      <vt:lpstr>5_OPIK-Portrait_Transperant_14</vt:lpstr>
      <vt:lpstr>6_OPIK-Portrait_Transperant_14</vt:lpstr>
      <vt:lpstr>7_OPIK-Portrait_Transperant_14</vt:lpstr>
      <vt:lpstr>8_OPIK-Portrait_Transperant_14</vt:lpstr>
      <vt:lpstr>9_OPIK-Portrait_Transperant_14</vt:lpstr>
      <vt:lpstr>10_OPIK-Portrait_Transperant_14</vt:lpstr>
      <vt:lpstr>11_OPIK-Portrait_Transperant_14</vt:lpstr>
      <vt:lpstr>12_OPIK-Portrait_Transperant_14</vt:lpstr>
      <vt:lpstr>13_OPIK-Portrait_Transperant_14</vt:lpstr>
      <vt:lpstr>14_OPIK-Portrait_Transperant_14</vt:lpstr>
      <vt:lpstr> ОПЕРАТИВНА ПРОГРАМА  “ИНОВАЦИИ И КОНКУРЕНТОСПОСОБНОСТ“  2014-2020</vt:lpstr>
      <vt:lpstr>Оперативна програма  “Иновации и конкурентоспособност” 2014-2020</vt:lpstr>
      <vt:lpstr>Структура на ОПИК и бюджетно разпределение (1/2)</vt:lpstr>
      <vt:lpstr>Структура на ОПИК и бюджетно разпределение (2/2)</vt:lpstr>
      <vt:lpstr>ИП 1.1 „Технологично развитие и иновации“  подкрепа чрез безвъзмездна помощ</vt:lpstr>
      <vt:lpstr> </vt:lpstr>
      <vt:lpstr>ИП 2.1 „Достъп до финансиране в подкрепа на предприемачеството“  подкрепа чрез безвъзмездна помощ</vt:lpstr>
      <vt:lpstr>ИП 2.1 „Достъп до финансиране в подкрепа на предприемачеството“ подкрепа чрез финансови инструменти</vt:lpstr>
      <vt:lpstr>ИП 2.2 „Капацитет за растеж на МСП“  подкрепа чрез безвъзмездна помощ</vt:lpstr>
      <vt:lpstr>ИП 2.2 „Капацитет за растеж на МСП“  подкрепа чрез финансови инструменти</vt:lpstr>
      <vt:lpstr>ИП 3.1 „Енергийни технологии и енергийна ефективност“ подкрепа чрез безвъзмездна помощ</vt:lpstr>
      <vt:lpstr>ИП 3.1 „Енергийни технологии и енергийна ефективност“ подкрепа чрез финансови инструменти</vt:lpstr>
      <vt:lpstr>ИП 3.2 “Ресурсна ефективност“  подкрепа чрез безвъзмездна помощ</vt:lpstr>
      <vt:lpstr>Възможности за подкрепа по ОПИК през 2015 г.</vt:lpstr>
      <vt:lpstr>Възможности за подкрепа по ОПИК през 2016 г.</vt:lpstr>
      <vt:lpstr>PowerPoint Presentation</vt:lpstr>
    </vt:vector>
  </TitlesOfParts>
  <Company>C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MEET</cp:lastModifiedBy>
  <cp:revision>1233</cp:revision>
  <dcterms:created xsi:type="dcterms:W3CDTF">2011-06-13T12:15:19Z</dcterms:created>
  <dcterms:modified xsi:type="dcterms:W3CDTF">2015-10-12T14:46:45Z</dcterms:modified>
</cp:coreProperties>
</file>